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tags/tag13.xml" ContentType="application/vnd.openxmlformats-officedocument.presentationml.tags+xml"/>
  <Override PartName="/ppt/notesSlides/notesSlide1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2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3.xml" ContentType="application/vnd.openxmlformats-officedocument.presentationml.notesSlide+xml"/>
  <Override PartName="/ppt/tags/tag2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7"/>
  </p:notesMasterIdLst>
  <p:sldIdLst>
    <p:sldId id="257" r:id="rId2"/>
    <p:sldId id="260" r:id="rId3"/>
    <p:sldId id="258" r:id="rId4"/>
    <p:sldId id="259" r:id="rId5"/>
    <p:sldId id="261" r:id="rId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4660"/>
  </p:normalViewPr>
  <p:slideViewPr>
    <p:cSldViewPr snapToGrid="0">
      <p:cViewPr varScale="1">
        <p:scale>
          <a:sx n="105" d="100"/>
          <a:sy n="105" d="100"/>
        </p:scale>
        <p:origin x="426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0C1F448F-86F9-4731-A83D-96FCA7389CBB}" type="datetimeFigureOut">
              <a:rPr lang="en-US" smtClean="0"/>
              <a:pPr/>
              <a:t>7/8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B12B4F69-D1A4-4078-9861-7D666137929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66543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999036-D14F-43A9-80A2-79B2BD62C88C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31580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063912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25583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695ADA0-1B34-F092-92E1-161E4E16C5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22390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50BBCA6-C6E5-4069-34F7-1690FDD11D9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vert="horz" anchor="b"/>
          <a:lstStyle>
            <a:lvl1pPr algn="ctr" rtl="0">
              <a:defRPr sz="6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DB19A61-B2E2-A9BE-7D68-381E4E26703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 rtl="0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56610D5-99BE-A1D9-50E7-537FBF9D73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5E4FD71B-E960-4BE4-B463-A12BB7700A42}" type="datetimeFigureOut">
              <a:rPr lang="en-US" smtClean="0"/>
              <a:pPr/>
              <a:t>7/8/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6387153-C0B2-B7BD-2616-FBD7549F7C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E75C970-D0D2-9C09-2F26-8A7BD9F827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D67EFDCF-2BE9-48DA-81A4-E9E0101174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744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C0365E6C-3202-4D5C-1F92-DB03773582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64200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50DCE9A-46A2-F98E-5736-FB07F3540B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05D4C1D-8EB7-0E7D-2652-61290CAEE50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877265C-FCA3-46BF-9CC2-7A3E20F484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5E4FD71B-E960-4BE4-B463-A12BB7700A42}" type="datetimeFigureOut">
              <a:rPr lang="en-US" smtClean="0"/>
              <a:pPr/>
              <a:t>7/8/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CA52405-206C-E426-95BF-A494BF743C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C5D419A-9332-EF01-CF51-4DA8023D28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D67EFDCF-2BE9-48DA-81A4-E9E0101174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63177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47F8E016-609A-7099-466A-F34E2ADF3C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049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Vertical Title 1">
            <a:extLst>
              <a:ext uri="{FF2B5EF4-FFF2-40B4-BE49-F238E27FC236}">
                <a16:creationId xmlns:a16="http://schemas.microsoft.com/office/drawing/2014/main" id="{F3BDC0B5-52A6-362B-911E-17671045104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3917163-05E7-7DA9-8AEB-1F2A5B422C3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FB28B61-86F7-C962-0449-FEA9EE0640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5E4FD71B-E960-4BE4-B463-A12BB7700A42}" type="datetimeFigureOut">
              <a:rPr lang="en-US" smtClean="0"/>
              <a:pPr/>
              <a:t>7/8/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37FB81F-F188-EC94-CD1E-4D8F3A50ED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5F2C7B9-AD53-A7FE-96E6-4D4521048A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D67EFDCF-2BE9-48DA-81A4-E9E0101174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08182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5F38ED86-F604-0008-F43B-3A74FF9F95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18917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B338AF6-69B5-DEF4-C001-B8DCE66838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7FC754-6632-EC40-75A3-A0F3D3DA2BF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76F9DBF-23C5-C18B-6E72-854C83EF06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5E4FD71B-E960-4BE4-B463-A12BB7700A42}" type="datetimeFigureOut">
              <a:rPr lang="en-US" smtClean="0"/>
              <a:pPr/>
              <a:t>7/8/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D760A54-C8A7-CEAC-B2B6-8C043D4A42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12038D-9A64-FFB4-B830-AFA3BF9C36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D67EFDCF-2BE9-48DA-81A4-E9E0101174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93328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38A56CB8-3934-5C83-8FF2-7CEE0D2471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89934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9D8436F-F20A-450E-C3B5-73F83A4F65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vert="horz" anchor="b"/>
          <a:lstStyle>
            <a:lvl1pPr rtl="0">
              <a:defRPr sz="6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039FDAD-3944-0BEE-5B86-04F88921998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 rtl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F5B4AA-A7AB-04C5-038C-6963567A12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5E4FD71B-E960-4BE4-B463-A12BB7700A42}" type="datetimeFigureOut">
              <a:rPr lang="en-US" smtClean="0"/>
              <a:pPr/>
              <a:t>7/8/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586E7B3-0CE3-9A9A-8915-FF7BF6D461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663EC1D-E0FC-122B-6054-0D7EAC1D82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D67EFDCF-2BE9-48DA-81A4-E9E0101174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041527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95EECDF3-A87B-9E28-F736-6790846178D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65996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CC7914C-08BC-656D-A85B-325762EF3E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35DD265-06F5-310C-6A7F-7631F10D121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256F8A2-2E2B-88B0-D6BC-32A91377D50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A9C74B4-F996-8430-8A9C-619564D0A1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5E4FD71B-E960-4BE4-B463-A12BB7700A42}" type="datetimeFigureOut">
              <a:rPr lang="en-US" smtClean="0"/>
              <a:pPr/>
              <a:t>7/8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FC6730B-7AAC-12CE-4CB6-220011DEC1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466787C-CD05-55F4-932C-C38C86100A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D67EFDCF-2BE9-48DA-81A4-E9E0101174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77658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CAA47A5C-963F-D1DE-D2F7-E07DC6AE74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3497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2F7EAA4-934B-1B9C-21DB-B223237A4A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D2799E3-E1DB-DF8F-73CF-0BE0267C8F3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 rtl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85605E7-CBA8-9B98-C32A-EBA4D5FEF8C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0FF1CE9-8378-015E-5979-20308F32DD1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 rtl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FD7C18E-E3A4-7811-6810-43F777E3C05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36B896C-23E1-F6CC-EA9D-62DD068B24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5E4FD71B-E960-4BE4-B463-A12BB7700A42}" type="datetimeFigureOut">
              <a:rPr lang="en-US" smtClean="0"/>
              <a:pPr/>
              <a:t>7/8/2025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8FE2-2F0A-324E-05B6-ACC23DE39C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19D2FE1-FA7A-EBC7-C7D9-3D009C14F2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D67EFDCF-2BE9-48DA-81A4-E9E0101174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60172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24AAED76-E1CC-D6E9-FA9A-90A0D0F70F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53462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921AF6A-2E33-FA57-5889-A62DD65BCE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12F11A4-7101-B7AF-55CF-31361FD41A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5E4FD71B-E960-4BE4-B463-A12BB7700A42}" type="datetimeFigureOut">
              <a:rPr lang="en-US" smtClean="0"/>
              <a:pPr/>
              <a:t>7/8/2025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2BB2524-F169-4AA2-AA5D-FFE1A7FD32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B5720AD-8359-E13B-91CB-1E8E380E7A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D67EFDCF-2BE9-48DA-81A4-E9E0101174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889393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533CD53-3C40-AC87-C939-92F102CC49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80192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8CDB22C-F793-0643-02D7-3DBB742AF1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5E4FD71B-E960-4BE4-B463-A12BB7700A42}" type="datetimeFigureOut">
              <a:rPr lang="en-US" smtClean="0"/>
              <a:pPr/>
              <a:t>7/8/2025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6FCA139-F131-793D-72C3-5FB50B63E8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23088E0-F5D5-22B3-014F-3C1B17FCBE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D67EFDCF-2BE9-48DA-81A4-E9E0101174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40050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88B4F67-2900-E1AA-369D-D1AFD066C6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30574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3A9F7B3-FDC4-183F-515B-679D58939D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vert="horz" anchor="b"/>
          <a:lstStyle>
            <a:lvl1pPr rtl="0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2629EE0-BBC4-0FC4-288E-E6C84C6798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rtl="0">
              <a:defRPr sz="3200"/>
            </a:lvl1pPr>
            <a:lvl2pPr rtl="0">
              <a:defRPr sz="2800"/>
            </a:lvl2pPr>
            <a:lvl3pPr rtl="0">
              <a:defRPr sz="2400"/>
            </a:lvl3pPr>
            <a:lvl4pPr rtl="0">
              <a:defRPr sz="2000"/>
            </a:lvl4pPr>
            <a:lvl5pPr rtl="0"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302E361-4F91-A4D8-B518-E9A9832C5E6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 rtl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0F42AEA-CB87-B64F-511A-B849F50AAE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5E4FD71B-E960-4BE4-B463-A12BB7700A42}" type="datetimeFigureOut">
              <a:rPr lang="en-US" smtClean="0"/>
              <a:pPr/>
              <a:t>7/8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56BF69C-62E4-CC5C-82B6-8FEC1334B1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186EFFB-7DE4-E2E5-ECDB-AA2BFAB642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D67EFDCF-2BE9-48DA-81A4-E9E0101174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15255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F7F8A899-FA1A-6B50-D77E-469C3E2DC2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88426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B19E476-14C5-2B56-8C6E-9837EAB915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vert="horz" anchor="b"/>
          <a:lstStyle>
            <a:lvl1pPr rtl="0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574B907-1C19-984F-E56F-917BFDCFA8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0F7DD1-E7CC-651D-A4E1-A69A63F1357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 rtl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96FA8FE-0B03-15BD-8A96-0D29AD8DC2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5E4FD71B-E960-4BE4-B463-A12BB7700A42}" type="datetimeFigureOut">
              <a:rPr lang="en-US" smtClean="0"/>
              <a:pPr/>
              <a:t>7/8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12DF5B2-3E50-7DF2-52A1-08694B9596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34DCE12-F5ED-24E7-37BC-84586F5D2A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D67EFDCF-2BE9-48DA-81A4-E9E0101174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32444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4D98946-3384-60C8-122C-05A66DB4C8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2941385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79" imgH="478" progId="TCLayout.ActiveDocument.1">
                  <p:embed/>
                </p:oleObj>
              </mc:Choice>
              <mc:Fallback>
                <p:oleObj name="think-cell Slide" r:id="rId14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801EBB0-F2B7-422C-6A98-233C483C0D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FEA378C-2B23-9C18-7851-2C2AA913548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218DC12-185E-B2B9-6675-EF7377721E9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5E4FD71B-E960-4BE4-B463-A12BB7700A42}" type="datetimeFigureOut">
              <a:rPr lang="en-US" smtClean="0"/>
              <a:pPr/>
              <a:t>7/8/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CCDF23C-669E-ABAC-5240-9DF0CBC7D47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rtl="0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CE27B6A-BA05-8337-DAE6-2A92C972F0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67EFDCF-2BE9-48DA-81A4-E9E0101174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51196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3.x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oleObject" Target="../embeddings/oleObject15.bin"/><Relationship Id="rId11" Type="http://schemas.openxmlformats.org/officeDocument/2006/relationships/image" Target="../media/image8.png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7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image" Target="../media/image1.emf"/><Relationship Id="rId18" Type="http://schemas.openxmlformats.org/officeDocument/2006/relationships/image" Target="../media/image13.png"/><Relationship Id="rId3" Type="http://schemas.openxmlformats.org/officeDocument/2006/relationships/tags" Target="../tags/tag20.xml"/><Relationship Id="rId21" Type="http://schemas.openxmlformats.org/officeDocument/2006/relationships/image" Target="../media/image16.png"/><Relationship Id="rId7" Type="http://schemas.openxmlformats.org/officeDocument/2006/relationships/tags" Target="../tags/tag24.xml"/><Relationship Id="rId12" Type="http://schemas.openxmlformats.org/officeDocument/2006/relationships/oleObject" Target="../embeddings/oleObject15.bin"/><Relationship Id="rId17" Type="http://schemas.openxmlformats.org/officeDocument/2006/relationships/image" Target="../media/image12.png"/><Relationship Id="rId2" Type="http://schemas.openxmlformats.org/officeDocument/2006/relationships/tags" Target="../tags/tag19.xml"/><Relationship Id="rId16" Type="http://schemas.openxmlformats.org/officeDocument/2006/relationships/image" Target="../media/image11.png"/><Relationship Id="rId20" Type="http://schemas.openxmlformats.org/officeDocument/2006/relationships/image" Target="../media/image15.png"/><Relationship Id="rId1" Type="http://schemas.openxmlformats.org/officeDocument/2006/relationships/tags" Target="../tags/tag18.xml"/><Relationship Id="rId6" Type="http://schemas.openxmlformats.org/officeDocument/2006/relationships/tags" Target="../tags/tag23.xml"/><Relationship Id="rId11" Type="http://schemas.openxmlformats.org/officeDocument/2006/relationships/notesSlide" Target="../notesSlides/notesSlide3.xml"/><Relationship Id="rId5" Type="http://schemas.openxmlformats.org/officeDocument/2006/relationships/tags" Target="../tags/tag22.xml"/><Relationship Id="rId15" Type="http://schemas.openxmlformats.org/officeDocument/2006/relationships/image" Target="../media/image10.png"/><Relationship Id="rId10" Type="http://schemas.openxmlformats.org/officeDocument/2006/relationships/slideLayout" Target="../slideLayouts/slideLayout2.xml"/><Relationship Id="rId19" Type="http://schemas.openxmlformats.org/officeDocument/2006/relationships/image" Target="../media/image14.png"/><Relationship Id="rId4" Type="http://schemas.openxmlformats.org/officeDocument/2006/relationships/tags" Target="../tags/tag21.xml"/><Relationship Id="rId9" Type="http://schemas.openxmlformats.org/officeDocument/2006/relationships/tags" Target="../tags/tag26.xml"/><Relationship Id="rId1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7.xml"/><Relationship Id="rId6" Type="http://schemas.openxmlformats.org/officeDocument/2006/relationships/hyperlink" Target="https://doi.org/10.1103/PhysRevB.102.035147" TargetMode="External"/><Relationship Id="rId5" Type="http://schemas.openxmlformats.org/officeDocument/2006/relationships/hyperlink" Target="https://doi.org/10.1103/PhysRevX.8.031082" TargetMode="Externa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F9D685EF-9972-9DAE-BA60-6EAB524AEE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84214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B341826-BEDD-E9B7-A7CC-6A0DFDC52DF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82003" y="197596"/>
            <a:ext cx="9144000" cy="1767457"/>
          </a:xfrm>
        </p:spPr>
        <p:txBody>
          <a:bodyPr vert="horz">
            <a:normAutofit/>
          </a:bodyPr>
          <a:lstStyle/>
          <a:p>
            <a:r>
              <a:rPr lang="en-US" sz="4800" noProof="0" dirty="0">
                <a:latin typeface="Bahnschrift SemiCondensed" panose="020B0502040204020203" pitchFamily="34" charset="0"/>
              </a:rPr>
              <a:t>The Thermal Tensor Network Renormalization Group (XTRG)</a:t>
            </a:r>
            <a:endParaRPr lang="en-US" sz="4800" noProof="0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48B767FD-B065-6147-9FBD-BC0CEDA4DF2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515426" y="2411425"/>
            <a:ext cx="6277155" cy="995841"/>
          </a:xfrm>
        </p:spPr>
        <p:txBody>
          <a:bodyPr>
            <a:normAutofit/>
          </a:bodyPr>
          <a:lstStyle/>
          <a:p>
            <a:r>
              <a:rPr lang="en-US" sz="3200" noProof="0" dirty="0">
                <a:latin typeface="Bahnschrift SemiCondensed" panose="020B0502040204020203" pitchFamily="34" charset="0"/>
              </a:rPr>
              <a:t>A Simulation of the XY-Model</a:t>
            </a:r>
            <a:endParaRPr lang="en-US" sz="3200" noProof="0" dirty="0"/>
          </a:p>
        </p:txBody>
      </p:sp>
      <p:pic>
        <p:nvPicPr>
          <p:cNvPr id="5" name="Grafik 4" descr="Ein Bild, das Entwurf, Zeichnung, Lineart, Strichzeichnung enthält.&#10;&#10;Automatisch generierte Beschreibung">
            <a:extLst>
              <a:ext uri="{FF2B5EF4-FFF2-40B4-BE49-F238E27FC236}">
                <a16:creationId xmlns:a16="http://schemas.microsoft.com/office/drawing/2014/main" id="{9A205665-ED50-AA8C-9343-F133F64B548B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314" b="38586"/>
          <a:stretch/>
        </p:blipFill>
        <p:spPr>
          <a:xfrm>
            <a:off x="9725892" y="1"/>
            <a:ext cx="2466108" cy="3072526"/>
          </a:xfrm>
          <a:prstGeom prst="rect">
            <a:avLst/>
          </a:prstGeom>
        </p:spPr>
      </p:pic>
      <p:sp>
        <p:nvSpPr>
          <p:cNvPr id="6" name="ZoneTexte 3">
            <a:extLst>
              <a:ext uri="{FF2B5EF4-FFF2-40B4-BE49-F238E27FC236}">
                <a16:creationId xmlns:a16="http://schemas.microsoft.com/office/drawing/2014/main" id="{6160ACA3-8C52-7F59-31AB-8B35CD6D874C}"/>
              </a:ext>
            </a:extLst>
          </p:cNvPr>
          <p:cNvSpPr txBox="1"/>
          <p:nvPr/>
        </p:nvSpPr>
        <p:spPr>
          <a:xfrm>
            <a:off x="9363456" y="5929826"/>
            <a:ext cx="233448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hnschrift SemiCondensed" panose="020B0502040204020203" pitchFamily="34" charset="0"/>
                <a:ea typeface="+mn-ea"/>
                <a:cs typeface="+mn-cs"/>
              </a:rPr>
              <a:t>PAWLIK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Bahnschrift SemiCondensed" panose="020B0502040204020203" pitchFamily="34" charset="0"/>
                <a:ea typeface="+mn-ea"/>
                <a:cs typeface="+mn-cs"/>
              </a:rPr>
              <a:t>Matthias, </a:t>
            </a:r>
            <a:r>
              <a:rPr lang="en-US" sz="1200" noProof="0" dirty="0">
                <a:solidFill>
                  <a:prstClr val="black"/>
                </a:solidFill>
                <a:latin typeface="Bahnschrift SemiCondensed" panose="020B0502040204020203" pitchFamily="34" charset="0"/>
              </a:rPr>
              <a:t>ALIVERTI </a:t>
            </a:r>
            <a:r>
              <a:rPr lang="en-US" sz="1200" noProof="0" dirty="0">
                <a:solidFill>
                  <a:srgbClr val="E7E6E6">
                    <a:lumMod val="50000"/>
                  </a:srgbClr>
                </a:solidFill>
                <a:latin typeface="Bahnschrift SemiCondensed" panose="020B0502040204020203" pitchFamily="34" charset="0"/>
              </a:rPr>
              <a:t>Damiano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Bahnschrift SemiCondensed" panose="020B0502040204020203" pitchFamily="34" charset="0"/>
              <a:ea typeface="+mn-ea"/>
              <a:cs typeface="+mn-cs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B8A73089-DAC4-EB56-67C3-27CC9196E8A8}"/>
              </a:ext>
            </a:extLst>
          </p:cNvPr>
          <p:cNvSpPr txBox="1"/>
          <p:nvPr/>
        </p:nvSpPr>
        <p:spPr>
          <a:xfrm>
            <a:off x="8273899" y="6185421"/>
            <a:ext cx="402383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Bahnschrift SemiCondensed" panose="020B0502040204020203" pitchFamily="34" charset="0"/>
              </a:rPr>
              <a:t>Tensor Network Course Final Presentation – 23.07.2025</a:t>
            </a:r>
            <a:br>
              <a:rPr lang="en-US" sz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Bahnschrift SemiCondensed" panose="020B0502040204020203" pitchFamily="34" charset="0"/>
              </a:rPr>
            </a:br>
            <a:br>
              <a:rPr lang="en-US" sz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Bahnschrift SemiCondensed" panose="020B0502040204020203" pitchFamily="34" charset="0"/>
              </a:rPr>
            </a:br>
            <a:endParaRPr lang="en-US" sz="1200" noProof="0" dirty="0">
              <a:solidFill>
                <a:schemeClr val="tx1">
                  <a:lumMod val="85000"/>
                  <a:lumOff val="15000"/>
                </a:schemeClr>
              </a:solidFill>
              <a:latin typeface="Bahnschrift SemiCondensed" panose="020B0502040204020203" pitchFamily="34" charset="0"/>
            </a:endParaRPr>
          </a:p>
          <a:p>
            <a:endParaRPr lang="en-US" noProof="0" dirty="0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7B038B9F-1848-85AF-7C88-09E1C099D30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25553" y="3263619"/>
            <a:ext cx="4808376" cy="2219521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F10A08F4-C5AF-5C0B-7FDC-7B4C3ECC51C5}"/>
              </a:ext>
            </a:extLst>
          </p:cNvPr>
          <p:cNvSpPr/>
          <p:nvPr/>
        </p:nvSpPr>
        <p:spPr>
          <a:xfrm>
            <a:off x="6504002" y="3453208"/>
            <a:ext cx="347472" cy="30519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EB32E30-D1F7-AEFA-1FC5-7EF339B00D80}"/>
              </a:ext>
            </a:extLst>
          </p:cNvPr>
          <p:cNvSpPr/>
          <p:nvPr/>
        </p:nvSpPr>
        <p:spPr>
          <a:xfrm>
            <a:off x="8745229" y="3478010"/>
            <a:ext cx="347472" cy="30519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CE1A5346-68DB-F96C-3EC8-9B5CEB75CA7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582115" y="3407266"/>
            <a:ext cx="3917923" cy="23726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182225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EB9B74A-FBCF-B553-01DF-3974D69BBB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73750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feld 15">
            <a:extLst>
              <a:ext uri="{FF2B5EF4-FFF2-40B4-BE49-F238E27FC236}">
                <a16:creationId xmlns:a16="http://schemas.microsoft.com/office/drawing/2014/main" id="{705439BC-3A99-BE9C-24F1-68A309F82EDE}"/>
              </a:ext>
            </a:extLst>
          </p:cNvPr>
          <p:cNvSpPr txBox="1"/>
          <p:nvPr/>
        </p:nvSpPr>
        <p:spPr>
          <a:xfrm>
            <a:off x="188340" y="147722"/>
            <a:ext cx="4327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noProof="0" dirty="0">
                <a:solidFill>
                  <a:schemeClr val="bg2">
                    <a:lumMod val="50000"/>
                  </a:schemeClr>
                </a:solidFill>
                <a:latin typeface="Bahnschrift SemiCondensed" panose="020B0502040204020203" pitchFamily="34" charset="0"/>
              </a:rPr>
              <a:t>01</a:t>
            </a:r>
          </a:p>
        </p:txBody>
      </p:sp>
      <p:sp>
        <p:nvSpPr>
          <p:cNvPr id="6" name="Untertitel 2 1">
            <a:extLst>
              <a:ext uri="{FF2B5EF4-FFF2-40B4-BE49-F238E27FC236}">
                <a16:creationId xmlns:a16="http://schemas.microsoft.com/office/drawing/2014/main" id="{27D89C80-A290-2063-9B84-F8A4603A391D}"/>
              </a:ext>
            </a:extLst>
          </p:cNvPr>
          <p:cNvSpPr txBox="1">
            <a:spLocks/>
          </p:cNvSpPr>
          <p:nvPr/>
        </p:nvSpPr>
        <p:spPr>
          <a:xfrm>
            <a:off x="1774762" y="646633"/>
            <a:ext cx="8777414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200" noProof="0" dirty="0">
                <a:latin typeface="Bahnschrift SemiCondensed" panose="020B0502040204020203" pitchFamily="34" charset="0"/>
              </a:rPr>
              <a:t>Canonicalization of Matrix Product Operators (MPOs)</a:t>
            </a:r>
            <a:endParaRPr lang="en-US" sz="3200" noProof="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3158EC7-9B44-E597-60FA-AB5F849A95D0}"/>
              </a:ext>
            </a:extLst>
          </p:cNvPr>
          <p:cNvSpPr txBox="1"/>
          <p:nvPr/>
        </p:nvSpPr>
        <p:spPr>
          <a:xfrm>
            <a:off x="8552688" y="6376708"/>
            <a:ext cx="363931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accent4">
                    <a:lumMod val="50000"/>
                  </a:schemeClr>
                </a:solidFill>
                <a:latin typeface="Bahnschrift SemiCondensed" panose="020B0502040204020203" pitchFamily="34" charset="0"/>
              </a:rPr>
              <a:t>[2] </a:t>
            </a:r>
            <a:r>
              <a:rPr lang="en-US" sz="1400" b="1" dirty="0">
                <a:latin typeface="Bahnschrift SemiCondensed" panose="020B0502040204020203" pitchFamily="34" charset="0"/>
              </a:rPr>
              <a:t>Parker, D. E., Cao, X., &amp; Zaletel, M. P.</a:t>
            </a:r>
            <a:r>
              <a:rPr lang="en-US" sz="1400" dirty="0">
                <a:latin typeface="Bahnschrift SemiCondensed" panose="020B0502040204020203" pitchFamily="34" charset="0"/>
              </a:rPr>
              <a:t> (2020)</a:t>
            </a:r>
          </a:p>
        </p:txBody>
      </p:sp>
    </p:spTree>
    <p:extLst>
      <p:ext uri="{BB962C8B-B14F-4D97-AF65-F5344CB8AC3E}">
        <p14:creationId xmlns:p14="http://schemas.microsoft.com/office/powerpoint/2010/main" val="199614695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DDEFD78-FFA3-44C0-13B3-4B90F8BE14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72848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9" imgH="478" progId="TCLayout.ActiveDocument.1">
                  <p:embed/>
                </p:oleObj>
              </mc:Choice>
              <mc:Fallback>
                <p:oleObj name="think-cell Slide" r:id="rId6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feld 15">
            <a:extLst>
              <a:ext uri="{FF2B5EF4-FFF2-40B4-BE49-F238E27FC236}">
                <a16:creationId xmlns:a16="http://schemas.microsoft.com/office/drawing/2014/main" id="{4D0BD1B2-E47F-8AC7-B035-2720DE527CDB}"/>
              </a:ext>
            </a:extLst>
          </p:cNvPr>
          <p:cNvSpPr txBox="1"/>
          <p:nvPr/>
        </p:nvSpPr>
        <p:spPr>
          <a:xfrm>
            <a:off x="188340" y="147722"/>
            <a:ext cx="4327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noProof="0" dirty="0">
                <a:solidFill>
                  <a:schemeClr val="bg2">
                    <a:lumMod val="50000"/>
                  </a:schemeClr>
                </a:solidFill>
                <a:latin typeface="Bahnschrift SemiCondensed" panose="020B0502040204020203" pitchFamily="34" charset="0"/>
              </a:rPr>
              <a:t>02</a:t>
            </a:r>
          </a:p>
        </p:txBody>
      </p:sp>
      <p:sp>
        <p:nvSpPr>
          <p:cNvPr id="2" name="Untertitel 2 1">
            <a:extLst>
              <a:ext uri="{FF2B5EF4-FFF2-40B4-BE49-F238E27FC236}">
                <a16:creationId xmlns:a16="http://schemas.microsoft.com/office/drawing/2014/main" id="{E9CF12DC-8C59-598E-C184-0E644936F8F3}"/>
              </a:ext>
            </a:extLst>
          </p:cNvPr>
          <p:cNvSpPr txBox="1">
            <a:spLocks/>
          </p:cNvSpPr>
          <p:nvPr/>
        </p:nvSpPr>
        <p:spPr>
          <a:xfrm>
            <a:off x="3064066" y="628345"/>
            <a:ext cx="6619429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200" noProof="0" dirty="0">
                <a:latin typeface="Bahnschrift SemiCondensed" panose="020B0502040204020203" pitchFamily="34" charset="0"/>
              </a:rPr>
              <a:t>Linear High-Temperature Initialization </a:t>
            </a:r>
            <a:endParaRPr lang="en-US" sz="3200" noProof="0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C6F1F6CC-B32D-EAE7-68D2-E7C98793A4B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670982" y="2395702"/>
            <a:ext cx="5260118" cy="704566"/>
          </a:xfrm>
          <a:prstGeom prst="rect">
            <a:avLst/>
          </a:prstGeom>
        </p:spPr>
      </p:pic>
      <p:sp>
        <p:nvSpPr>
          <p:cNvPr id="23" name="Untertitel 2 2">
            <a:extLst>
              <a:ext uri="{FF2B5EF4-FFF2-40B4-BE49-F238E27FC236}">
                <a16:creationId xmlns:a16="http://schemas.microsoft.com/office/drawing/2014/main" id="{521939AD-918B-CE47-B159-D0986ADCA8E6}"/>
              </a:ext>
            </a:extLst>
          </p:cNvPr>
          <p:cNvSpPr txBox="1">
            <a:spLocks/>
          </p:cNvSpPr>
          <p:nvPr/>
        </p:nvSpPr>
        <p:spPr>
          <a:xfrm>
            <a:off x="1476059" y="1628049"/>
            <a:ext cx="139820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XY-Model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4" name="Untertitel 2 3 1">
            <a:extLst>
              <a:ext uri="{FF2B5EF4-FFF2-40B4-BE49-F238E27FC236}">
                <a16:creationId xmlns:a16="http://schemas.microsoft.com/office/drawing/2014/main" id="{CE6A4575-3F63-0FBE-9123-E7147C01DFFA}"/>
              </a:ext>
            </a:extLst>
          </p:cNvPr>
          <p:cNvSpPr txBox="1">
            <a:spLocks/>
          </p:cNvSpPr>
          <p:nvPr/>
        </p:nvSpPr>
        <p:spPr>
          <a:xfrm>
            <a:off x="8282400" y="2504372"/>
            <a:ext cx="268709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PO Representatio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9" name="Untertitel 2 4">
            <a:extLst>
              <a:ext uri="{FF2B5EF4-FFF2-40B4-BE49-F238E27FC236}">
                <a16:creationId xmlns:a16="http://schemas.microsoft.com/office/drawing/2014/main" id="{592614A4-B7E0-6D0E-8C1E-8F6E31686D1B}"/>
              </a:ext>
            </a:extLst>
          </p:cNvPr>
          <p:cNvSpPr txBox="1">
            <a:spLocks/>
          </p:cNvSpPr>
          <p:nvPr/>
        </p:nvSpPr>
        <p:spPr>
          <a:xfrm>
            <a:off x="1476059" y="3859110"/>
            <a:ext cx="906543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with</a:t>
            </a:r>
            <a:endParaRPr lang="en-US" sz="2000" noProof="0" dirty="0"/>
          </a:p>
        </p:txBody>
      </p:sp>
      <p:sp>
        <p:nvSpPr>
          <p:cNvPr id="30" name="Untertitel 2 5">
            <a:extLst>
              <a:ext uri="{FF2B5EF4-FFF2-40B4-BE49-F238E27FC236}">
                <a16:creationId xmlns:a16="http://schemas.microsoft.com/office/drawing/2014/main" id="{CEA65EAC-33C5-B05C-6B7E-CCB068BE7D2F}"/>
              </a:ext>
            </a:extLst>
          </p:cNvPr>
          <p:cNvSpPr txBox="1">
            <a:spLocks/>
          </p:cNvSpPr>
          <p:nvPr/>
        </p:nvSpPr>
        <p:spPr>
          <a:xfrm>
            <a:off x="5461334" y="3859109"/>
            <a:ext cx="121444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such that</a:t>
            </a:r>
            <a:endParaRPr lang="en-US" sz="2000" noProof="0" dirty="0"/>
          </a:p>
        </p:txBody>
      </p:sp>
      <p:pic>
        <p:nvPicPr>
          <p:cNvPr id="40" name="Picture 39" descr="\documentclass{article}&#10;\usepackage{amsmath, amsfonts, amssymb, xcolor}&#10;\pagestyle{empty}&#10;\fontfamily{BahnschriftSemiCondensed}&#10;&#10;\begin{document}&#10;&#10;$&#10;\hat{H} = \begin{pmatrix} 0 \ 0 \ 0 \ 1 \end{pmatrix} \prod_{l = 1}^{\mathcal{L}} \hat{W}_l \begin{pmatrix} 1 \\ 0 \\ 0 \\ 0 \end{pmatrix}&#10;$&#10;&#10;\end{document}" title="IguanaTex Bitmap Display">
            <a:extLst>
              <a:ext uri="{FF2B5EF4-FFF2-40B4-BE49-F238E27FC236}">
                <a16:creationId xmlns:a16="http://schemas.microsoft.com/office/drawing/2014/main" id="{875CF5BB-F01D-00B2-D9E8-9F82726335C2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6870" y="3429000"/>
            <a:ext cx="3061333" cy="1214476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66BA1203-2244-2D23-1F66-6294707061F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175162" y="3317751"/>
            <a:ext cx="3061333" cy="1353527"/>
          </a:xfrm>
          <a:prstGeom prst="rect">
            <a:avLst/>
          </a:prstGeom>
        </p:spPr>
      </p:pic>
      <p:pic>
        <p:nvPicPr>
          <p:cNvPr id="64" name="Picture 63" descr="\documentclass{article}&#10;\usepackage{amsmath, amsfonts, amssymb, xcolor}&#10;\pagestyle{empty}&#10;\fontfamily{BahnschriftSemiCondensed}&#10;&#10;\begin{document}&#10;&#10;$&#10;\hat{H} = J \sum_{l = 1}^{\mathcal{L}-1} (\hat{S}^x_l \hat{S}^x_{l+1} + \hat{S}^y_l \hat{S}^y_{l+1}) \equiv J \sum_{l = 1}^{\mathcal{L}-1} (\hat{S}^+_l \hat{S}^-_{l+1} + \hat{S}^-_l \hat{S}^+_{l+1})&#10;$&#10;&#10;\end{document}" title="IguanaTex Bitmap Display">
            <a:extLst>
              <a:ext uri="{FF2B5EF4-FFF2-40B4-BE49-F238E27FC236}">
                <a16:creationId xmlns:a16="http://schemas.microsoft.com/office/drawing/2014/main" id="{F1C46376-942F-6829-7E7D-D34BF50194AA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00074" y="1651863"/>
            <a:ext cx="6875428" cy="350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1625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479" imgH="478" progId="TCLayout.ActiveDocument.1">
                  <p:embed/>
                </p:oleObj>
              </mc:Choice>
              <mc:Fallback>
                <p:oleObj name="think-cell Slide" r:id="rId12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DDEFD78-FFA3-44C0-13B3-4B90F8BE14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feld 15">
            <a:extLst>
              <a:ext uri="{FF2B5EF4-FFF2-40B4-BE49-F238E27FC236}">
                <a16:creationId xmlns:a16="http://schemas.microsoft.com/office/drawing/2014/main" id="{D4F4CA12-E33D-310F-20FF-D6F47D052E92}"/>
              </a:ext>
            </a:extLst>
          </p:cNvPr>
          <p:cNvSpPr txBox="1"/>
          <p:nvPr/>
        </p:nvSpPr>
        <p:spPr>
          <a:xfrm>
            <a:off x="188340" y="147722"/>
            <a:ext cx="4327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noProof="0" dirty="0">
                <a:solidFill>
                  <a:schemeClr val="bg2">
                    <a:lumMod val="50000"/>
                  </a:schemeClr>
                </a:solidFill>
                <a:latin typeface="Bahnschrift SemiCondensed" panose="020B0502040204020203" pitchFamily="34" charset="0"/>
              </a:rPr>
              <a:t>03</a:t>
            </a:r>
          </a:p>
        </p:txBody>
      </p:sp>
      <p:sp>
        <p:nvSpPr>
          <p:cNvPr id="2" name="Untertitel 2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2810257" y="611092"/>
            <a:ext cx="7020213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200" noProof="0" dirty="0">
                <a:latin typeface="Bahnschrift SemiCondensed" panose="020B0502040204020203" pitchFamily="34" charset="0"/>
              </a:rPr>
              <a:t>Halving temperature by squaring the state</a:t>
            </a:r>
            <a:endParaRPr lang="en-US" sz="3200" noProof="0" dirty="0"/>
          </a:p>
        </p:txBody>
      </p:sp>
      <p:sp>
        <p:nvSpPr>
          <p:cNvPr id="23" name="Untertitel 2 2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1286541" y="1790621"/>
            <a:ext cx="139820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ain idea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9" name="Untertitel 2 3">
            <a:extLst>
              <a:ext uri="{FF2B5EF4-FFF2-40B4-BE49-F238E27FC236}">
                <a16:creationId xmlns:a16="http://schemas.microsoft.com/office/drawing/2014/main" id="{39B745FA-D5B2-29C1-3968-C733E40E8459}"/>
              </a:ext>
            </a:extLst>
          </p:cNvPr>
          <p:cNvSpPr txBox="1">
            <a:spLocks/>
          </p:cNvSpPr>
          <p:nvPr/>
        </p:nvSpPr>
        <p:spPr>
          <a:xfrm>
            <a:off x="2554625" y="1811123"/>
            <a:ext cx="8350834" cy="74085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Suppose we have computed the thermal state         . Then we can compute the thermal state with double inverse temperature as</a:t>
            </a:r>
          </a:p>
        </p:txBody>
      </p:sp>
      <p:pic>
        <p:nvPicPr>
          <p:cNvPr id="8" name="Picture 7" descr="\documentclass{article}&#10;\usepackage{amsmath}&#10;\pagestyle{empty}&#10;\begin{document}&#10;&#10;$\rho(\beta)$&#10;&#10;&#10;\end{document}" title="IguanaTex Picture Display">
            <a:extLst>
              <a:ext uri="{FF2B5EF4-FFF2-40B4-BE49-F238E27FC236}">
                <a16:creationId xmlns:a16="http://schemas.microsoft.com/office/drawing/2014/main" id="{9BF7421C-66E9-7097-28DC-4537B05B45AF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8029" y="1854254"/>
            <a:ext cx="452571" cy="254476"/>
          </a:xfrm>
          <a:prstGeom prst="rect">
            <a:avLst/>
          </a:prstGeom>
        </p:spPr>
      </p:pic>
      <p:pic>
        <p:nvPicPr>
          <p:cNvPr id="11" name="Picture 10" descr="\documentclass{article}&#10;\usepackage{amsmath}&#10;\pagestyle{empty}&#10;\begin{document}&#10;&#10;$\rho(2 \beta) = \text{e}^{-2 \beta \hat{H}} = (\text{e}^{- \beta \hat{H}})^2 = \rho(\beta)^2$&#10;&#10;&#10;\end{document}" title="IguanaTex Picture Display">
            <a:extLst>
              <a:ext uri="{FF2B5EF4-FFF2-40B4-BE49-F238E27FC236}">
                <a16:creationId xmlns:a16="http://schemas.microsoft.com/office/drawing/2014/main" id="{DC667FC9-7209-7818-2D69-59B0FD6DABE5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8930" y="2602386"/>
            <a:ext cx="3774474" cy="324571"/>
          </a:xfrm>
          <a:prstGeom prst="rect">
            <a:avLst/>
          </a:prstGeom>
        </p:spPr>
      </p:pic>
      <p:sp>
        <p:nvSpPr>
          <p:cNvPr id="12" name="Untertitel 2 3">
            <a:extLst>
              <a:ext uri="{FF2B5EF4-FFF2-40B4-BE49-F238E27FC236}">
                <a16:creationId xmlns:a16="http://schemas.microsoft.com/office/drawing/2014/main" id="{F0145429-2611-E58B-002B-78C5763C06F6}"/>
              </a:ext>
            </a:extLst>
          </p:cNvPr>
          <p:cNvSpPr txBox="1">
            <a:spLocks/>
          </p:cNvSpPr>
          <p:nvPr/>
        </p:nvSpPr>
        <p:spPr>
          <a:xfrm>
            <a:off x="2548678" y="3209337"/>
            <a:ext cx="9358701" cy="26989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We start from the high-temperature state       , and iteratively halve the temperature. We do the square using the MPO representation of the thermal states. Squaring MPOs implies squaring their bond dimension, too. This calls for a truncation scheme.</a:t>
            </a:r>
          </a:p>
        </p:txBody>
      </p:sp>
      <p:pic>
        <p:nvPicPr>
          <p:cNvPr id="14" name="Picture 13" descr="\documentclass{article}&#10;\usepackage{amsmath}&#10;\pagestyle{empty}&#10;\begin{document}&#10;&#10;$\rho_{\beta_0}$&#10;&#10;\end{document}" title="IguanaTex Picture Display">
            <a:extLst>
              <a:ext uri="{FF2B5EF4-FFF2-40B4-BE49-F238E27FC236}">
                <a16:creationId xmlns:a16="http://schemas.microsoft.com/office/drawing/2014/main" id="{D364E4A0-09FA-3132-3278-4BA3FE24BC0F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25429" y="3345518"/>
            <a:ext cx="315429" cy="184381"/>
          </a:xfrm>
          <a:prstGeom prst="rect">
            <a:avLst/>
          </a:prstGeom>
        </p:spPr>
      </p:pic>
      <p:sp>
        <p:nvSpPr>
          <p:cNvPr id="15" name="Untertitel 2 2">
            <a:extLst>
              <a:ext uri="{FF2B5EF4-FFF2-40B4-BE49-F238E27FC236}">
                <a16:creationId xmlns:a16="http://schemas.microsoft.com/office/drawing/2014/main" id="{513F6546-753F-4293-9D70-3FD95AAE0875}"/>
              </a:ext>
            </a:extLst>
          </p:cNvPr>
          <p:cNvSpPr txBox="1">
            <a:spLocks/>
          </p:cNvSpPr>
          <p:nvPr/>
        </p:nvSpPr>
        <p:spPr>
          <a:xfrm>
            <a:off x="621101" y="3185388"/>
            <a:ext cx="2409482" cy="74085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XTRG algorithm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" name="Untertitel 2 6">
            <a:extLst>
              <a:ext uri="{FF2B5EF4-FFF2-40B4-BE49-F238E27FC236}">
                <a16:creationId xmlns:a16="http://schemas.microsoft.com/office/drawing/2014/main" id="{385898AF-B955-5739-FC5A-7DDDCDA57CCE}"/>
              </a:ext>
            </a:extLst>
          </p:cNvPr>
          <p:cNvSpPr txBox="1">
            <a:spLocks/>
          </p:cNvSpPr>
          <p:nvPr/>
        </p:nvSpPr>
        <p:spPr>
          <a:xfrm>
            <a:off x="1412049" y="4710515"/>
            <a:ext cx="9759159" cy="7477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We linearly approximate the (unnormalized) thermal state at high temperature,                   ,  as</a:t>
            </a:r>
            <a:endParaRPr lang="en-US" sz="2000" noProof="0" dirty="0"/>
          </a:p>
        </p:txBody>
      </p:sp>
      <p:pic>
        <p:nvPicPr>
          <p:cNvPr id="6" name="Picture 5" descr="\documentclass{article}&#10;\usepackage{amsmath}&#10;\usepackage{bbold}&#10;\pagestyle{empty}&#10;\begin{document}&#10;&#10;$\rho(\beta_0) = \text{e}^{- \beta_0 \hat{H}}\approx \hat{\mathbb{1}} - \beta_0 \hat{H}$&#10;&#10;&#10;\end{document}" title="IguanaTex Picture Display">
            <a:extLst>
              <a:ext uri="{FF2B5EF4-FFF2-40B4-BE49-F238E27FC236}">
                <a16:creationId xmlns:a16="http://schemas.microsoft.com/office/drawing/2014/main" id="{F28F0B9A-D84B-0C4B-C4B5-8E87C411C538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9231" y="5230705"/>
            <a:ext cx="2858666" cy="324571"/>
          </a:xfrm>
          <a:prstGeom prst="rect">
            <a:avLst/>
          </a:prstGeom>
        </p:spPr>
      </p:pic>
      <p:pic>
        <p:nvPicPr>
          <p:cNvPr id="13" name="Picture 12" descr="\documentclass{article}&#10;\usepackage{amsmath}&#10;\pagestyle{empty}&#10;\begin{document}&#10;&#10;$\beta_0 = 10^{-6}$&#10;&#10;\end{document}" title="IguanaTex Picture Display">
            <a:extLst>
              <a:ext uri="{FF2B5EF4-FFF2-40B4-BE49-F238E27FC236}">
                <a16:creationId xmlns:a16="http://schemas.microsoft.com/office/drawing/2014/main" id="{842B7C67-87EA-AA62-4EEE-458D99106A8C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60856" y="4750134"/>
            <a:ext cx="1091048" cy="257524"/>
          </a:xfrm>
          <a:prstGeom prst="rect">
            <a:avLst/>
          </a:prstGeom>
        </p:spPr>
      </p:pic>
      <p:sp>
        <p:nvSpPr>
          <p:cNvPr id="7" name="Untertitel 2 3 2">
            <a:extLst>
              <a:ext uri="{FF2B5EF4-FFF2-40B4-BE49-F238E27FC236}">
                <a16:creationId xmlns:a16="http://schemas.microsoft.com/office/drawing/2014/main" id="{452D222A-1577-1AFF-2E59-1E58B5AF8F3A}"/>
              </a:ext>
            </a:extLst>
          </p:cNvPr>
          <p:cNvSpPr txBox="1">
            <a:spLocks/>
          </p:cNvSpPr>
          <p:nvPr/>
        </p:nvSpPr>
        <p:spPr>
          <a:xfrm>
            <a:off x="1412048" y="5808199"/>
            <a:ext cx="8664639" cy="6631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Using the fact that      and    can be represented by MPOs with bond dimension 4 and 1, respectively, we represent                  with an MPO with bond dimension 5</a:t>
            </a:r>
          </a:p>
        </p:txBody>
      </p:sp>
      <p:pic>
        <p:nvPicPr>
          <p:cNvPr id="9" name="Picture 8" descr="\documentclass{article}&#10;\usepackage{amsmath}&#10;\pagestyle{empty}&#10;\begin{document}&#10;&#10;$\hat{H}$&#10;&#10;&#10;\end{document}" title="IguanaTex Picture Display">
            <a:extLst>
              <a:ext uri="{FF2B5EF4-FFF2-40B4-BE49-F238E27FC236}">
                <a16:creationId xmlns:a16="http://schemas.microsoft.com/office/drawing/2014/main" id="{AE17548D-126D-CC51-4A9D-BBAC4AFC0A80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5190" y="5832041"/>
            <a:ext cx="214857" cy="239238"/>
          </a:xfrm>
          <a:prstGeom prst="rect">
            <a:avLst/>
          </a:prstGeom>
        </p:spPr>
      </p:pic>
      <p:pic>
        <p:nvPicPr>
          <p:cNvPr id="17" name="Picture 16" descr="\documentclass{article}&#10;\usepackage{amsmath}&#10;\usepackage{bbold}&#10;\pagestyle{empty}&#10;\begin{document}&#10;&#10;$\hat{\mathbb{1}}$&#10;&#10;\end{document}" title="IguanaTex Picture Display">
            <a:extLst>
              <a:ext uri="{FF2B5EF4-FFF2-40B4-BE49-F238E27FC236}">
                <a16:creationId xmlns:a16="http://schemas.microsoft.com/office/drawing/2014/main" id="{73BE6A28-7B1F-673D-B344-A1A1E59AE178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0346" y="5841184"/>
            <a:ext cx="112762" cy="230095"/>
          </a:xfrm>
          <a:prstGeom prst="rect">
            <a:avLst/>
          </a:prstGeom>
        </p:spPr>
      </p:pic>
      <p:pic>
        <p:nvPicPr>
          <p:cNvPr id="21" name="Picture 20" descr="\documentclass{article}&#10;\usepackage{amsmath}&#10;\usepackage{bbold}&#10;\pagestyle{empty}&#10;\begin{document}&#10;&#10;$\hat{\mathbb{1}} - \beta_0 \hat{H}$&#10;&#10;\end{document}" title="IguanaTex Picture Display">
            <a:extLst>
              <a:ext uri="{FF2B5EF4-FFF2-40B4-BE49-F238E27FC236}">
                <a16:creationId xmlns:a16="http://schemas.microsoft.com/office/drawing/2014/main" id="{6713ED5A-79E5-D2D0-0D00-42D463999457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23108" y="6127306"/>
            <a:ext cx="917334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153468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2C2753E-7B0E-1B84-2E81-BD8196B47D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217274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Untertitel 2 1">
            <a:extLst>
              <a:ext uri="{FF2B5EF4-FFF2-40B4-BE49-F238E27FC236}">
                <a16:creationId xmlns:a16="http://schemas.microsoft.com/office/drawing/2014/main" id="{9F53687F-7E40-9D44-E4AC-ABDAFB092EFC}"/>
              </a:ext>
            </a:extLst>
          </p:cNvPr>
          <p:cNvSpPr txBox="1">
            <a:spLocks/>
          </p:cNvSpPr>
          <p:nvPr/>
        </p:nvSpPr>
        <p:spPr>
          <a:xfrm>
            <a:off x="1774762" y="646633"/>
            <a:ext cx="8777414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latin typeface="Bahnschrift SemiCondensed" panose="020B0502040204020203" pitchFamily="34" charset="0"/>
              </a:rPr>
              <a:t>Literature References</a:t>
            </a:r>
            <a:endParaRPr lang="en-US" sz="3200" noProof="0" dirty="0"/>
          </a:p>
        </p:txBody>
      </p:sp>
      <p:sp>
        <p:nvSpPr>
          <p:cNvPr id="6" name="Untertitel 2 3">
            <a:extLst>
              <a:ext uri="{FF2B5EF4-FFF2-40B4-BE49-F238E27FC236}">
                <a16:creationId xmlns:a16="http://schemas.microsoft.com/office/drawing/2014/main" id="{3014D1B9-5DE6-F701-5457-3DA75CED1AD7}"/>
              </a:ext>
            </a:extLst>
          </p:cNvPr>
          <p:cNvSpPr txBox="1">
            <a:spLocks/>
          </p:cNvSpPr>
          <p:nvPr/>
        </p:nvSpPr>
        <p:spPr>
          <a:xfrm>
            <a:off x="488399" y="1573379"/>
            <a:ext cx="11289073" cy="74085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2000" b="1" dirty="0">
                <a:solidFill>
                  <a:schemeClr val="accent4">
                    <a:lumMod val="50000"/>
                  </a:schemeClr>
                </a:solidFill>
                <a:latin typeface="Bahnschrift SemiCondensed" panose="020B0502040204020203" pitchFamily="34" charset="0"/>
              </a:rPr>
              <a:t>[1] </a:t>
            </a:r>
            <a:r>
              <a:rPr lang="en-US" sz="2000" b="1" dirty="0">
                <a:latin typeface="Bahnschrift SemiCondensed" panose="020B0502040204020203" pitchFamily="34" charset="0"/>
              </a:rPr>
              <a:t>Chen, B.-B., Chen, L., Chen, Z., Li, W., &amp; Weichselbaum, A.</a:t>
            </a:r>
            <a:r>
              <a:rPr lang="en-US" sz="2000" dirty="0">
                <a:latin typeface="Bahnschrift SemiCondensed" panose="020B0502040204020203" pitchFamily="34" charset="0"/>
              </a:rPr>
              <a:t> (2018). </a:t>
            </a:r>
            <a:r>
              <a:rPr lang="en-US" sz="2000" i="1" dirty="0">
                <a:latin typeface="Bahnschrift SemiCondensed" panose="020B0502040204020203" pitchFamily="34" charset="0"/>
              </a:rPr>
              <a:t>Exponential Thermal Tensor Network Approach for Quantum Lattice Models</a:t>
            </a:r>
            <a:r>
              <a:rPr lang="en-US" sz="2000" dirty="0">
                <a:latin typeface="Bahnschrift SemiCondensed" panose="020B0502040204020203" pitchFamily="34" charset="0"/>
              </a:rPr>
              <a:t>. Physical Review X, 8(3), 031082. </a:t>
            </a:r>
            <a:r>
              <a:rPr lang="en-US" sz="2000" dirty="0">
                <a:latin typeface="Bahnschrift SemiCondensed" panose="020B0502040204020203" pitchFamily="34" charset="0"/>
                <a:hlinkClick r:id="rId5"/>
              </a:rPr>
              <a:t>https://doi.org/10.1103/PhysRevX.8.031082</a:t>
            </a:r>
            <a:r>
              <a:rPr lang="en-US" sz="2000" dirty="0">
                <a:latin typeface="Bahnschrift SemiCondensed" panose="020B0502040204020203" pitchFamily="34" charset="0"/>
              </a:rPr>
              <a:t> 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23727AF-2580-C44C-F4ED-76800E2B929D}"/>
              </a:ext>
            </a:extLst>
          </p:cNvPr>
          <p:cNvSpPr txBox="1"/>
          <p:nvPr/>
        </p:nvSpPr>
        <p:spPr>
          <a:xfrm>
            <a:off x="488399" y="2596652"/>
            <a:ext cx="1097817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accent4">
                    <a:lumMod val="50000"/>
                  </a:schemeClr>
                </a:solidFill>
                <a:latin typeface="Bahnschrift SemiCondensed" panose="020B0502040204020203" pitchFamily="34" charset="0"/>
              </a:rPr>
              <a:t>[2] </a:t>
            </a:r>
            <a:r>
              <a:rPr lang="en-US" sz="2000" b="1" dirty="0">
                <a:latin typeface="Bahnschrift SemiCondensed" panose="020B0502040204020203" pitchFamily="34" charset="0"/>
              </a:rPr>
              <a:t>Parker, D. E., Cao, X., &amp; Zaletel, M. P.</a:t>
            </a:r>
            <a:r>
              <a:rPr lang="en-US" sz="2000" dirty="0">
                <a:latin typeface="Bahnschrift SemiCondensed" panose="020B0502040204020203" pitchFamily="34" charset="0"/>
              </a:rPr>
              <a:t> (2020). </a:t>
            </a:r>
            <a:r>
              <a:rPr lang="en-US" sz="2000" i="1" dirty="0">
                <a:latin typeface="Bahnschrift SemiCondensed" panose="020B0502040204020203" pitchFamily="34" charset="0"/>
              </a:rPr>
              <a:t>Local matrix product operators: Canonical form, compression, and control theory</a:t>
            </a:r>
            <a:r>
              <a:rPr lang="en-US" sz="2000" dirty="0">
                <a:latin typeface="Bahnschrift SemiCondensed" panose="020B0502040204020203" pitchFamily="34" charset="0"/>
              </a:rPr>
              <a:t>. Physical Review B, 102(3), 035147. </a:t>
            </a:r>
            <a:r>
              <a:rPr lang="en-US" sz="2000" dirty="0">
                <a:latin typeface="Bahnschrift SemiCondensed" panose="020B0502040204020203" pitchFamily="34" charset="0"/>
                <a:hlinkClick r:id="rId6"/>
              </a:rPr>
              <a:t>https://doi.org/10.1103/PhysRevB.102.035147</a:t>
            </a:r>
            <a:r>
              <a:rPr lang="en-US" sz="2000" dirty="0">
                <a:latin typeface="Bahnschrift SemiCondensed" panose="020B0502040204020203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514485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97.6753"/>
  <p:tag name="ORIGINALWIDTH" val="1506.562"/>
  <p:tag name="LATEXADDIN" val="\documentclass{article}&#10;\usepackage{amsmath, amsfonts, amssymb, xcolor}&#10;\pagestyle{empty}&#10;\fontfamily{BahnschriftSemiCondensed}&#10;&#10;\begin{document}&#10;&#10;$&#10;\hat{H} = \begin{pmatrix} 0 \ 0 \ 0 \ 1 \end{pmatrix} \prod_{l = 1}^{\mathcal{L}} \hat{W}_l \begin{pmatrix} 1 \\ 0 \\ 0 \\ 0 \end{pmatrix}&#10;$&#10;&#10;\end{document}"/>
  <p:tag name="IGUANATEXSIZE" val="20"/>
  <p:tag name="IGUANATEXCURSOR" val="271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2.4784"/>
  <p:tag name="ORIGINALWIDTH" val="3383.577"/>
  <p:tag name="LATEXADDIN" val="\documentclass{article}&#10;\usepackage{amsmath, amsfonts, amssymb, xcolor}&#10;\pagestyle{empty}&#10;\fontfamily{BahnschriftSemiCondensed}&#10;&#10;\begin{document}&#10;&#10;$&#10;\hat{H} = J \sum_{l = 1}^{\mathcal{L}-1} (\hat{S}^x_l \hat{S}^x_{l+1} + \hat{S}^y_l \hat{S}^y_{l+1}) \equiv J \sum_{l = 1}^{\mathcal{L}-1} (\hat{S}^+_l \hat{S}^-_{l+1} + \hat{S}^-_l \hat{S}^+_{l+1})&#10;$&#10;&#10;\end{document}"/>
  <p:tag name="IGUANATEXSIZE" val="20"/>
  <p:tag name="IGUANATEXCURSOR" val="347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5.2343"/>
  <p:tag name="ORIGINALWIDTH" val=" 222.7221"/>
  <p:tag name="OUTPUTTYPE" val="PNG"/>
  <p:tag name="IGUANATEXVERSION" val="162"/>
  <p:tag name="LATEXADDIN" val="\documentclass{article}&#10;\usepackage{amsmath}&#10;\pagestyle{empty}&#10;\begin{document}&#10;&#10;$\rho(\beta)$&#10;&#10;&#10;\end{document}"/>
  <p:tag name="IGUANATEXSIZE" val="20"/>
  <p:tag name="IGUANATEXCURSOR" val="92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.73"/>
  <p:tag name="ORIGINALWIDTH" val=" 1857.518"/>
  <p:tag name="OUTPUTTYPE" val="PNG"/>
  <p:tag name="IGUANATEXVERSION" val="162"/>
  <p:tag name="LATEXADDIN" val="\documentclass{article}&#10;\usepackage{amsmath}&#10;\pagestyle{empty}&#10;\begin{document}&#10;&#10;$\rho(2 \beta) = \text{e}^{-2 \beta \hat{H}} = (\text{e}^{- \beta \hat{H}})^2 = \rho(\beta)^2$&#10;&#10;&#10;\end{document}"/>
  <p:tag name="IGUANATEXSIZE" val="20"/>
  <p:tag name="IGUANATEXCURSOR" val="129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90.73866"/>
  <p:tag name="ORIGINALWIDTH" val=" 155.2306"/>
  <p:tag name="OUTPUTTYPE" val="PNG"/>
  <p:tag name="IGUANATEXVERSION" val="162"/>
  <p:tag name="LATEXADDIN" val="\documentclass{article}&#10;\usepackage{amsmath}&#10;\pagestyle{empty}&#10;\begin{document}&#10;&#10;$\rho_{\beta_0}$&#10;&#10;\end{document}"/>
  <p:tag name="IGUANATEXSIZE" val="20"/>
  <p:tag name="IGUANATEXCURSOR" val="82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.73"/>
  <p:tag name="ORIGINALWIDTH" val=" 1406.824"/>
  <p:tag name="OUTPUTTYPE" val="PNG"/>
  <p:tag name="IGUANATEXVERSION" val="162"/>
  <p:tag name="LATEXADDIN" val="\documentclass{article}&#10;\usepackage{amsmath}&#10;\usepackage{bbold}&#10;\pagestyle{empty}&#10;\begin{document}&#10;&#10;$\rho(\beta_0) = \text{e}^{- \beta_0 \hat{H}}\approx \hat{\mathbb{1}} - \beta_0 \hat{H}$&#10;&#10;&#10;\end{document}"/>
  <p:tag name="IGUANATEXSIZE" val="20"/>
  <p:tag name="IGUANATEXCURSOR" val="187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6.7342"/>
  <p:tag name="ORIGINALWIDTH" val=" 536.9329"/>
  <p:tag name="OUTPUTTYPE" val="PNG"/>
  <p:tag name="IGUANATEXVERSION" val="162"/>
  <p:tag name="LATEXADDIN" val="\documentclass{article}&#10;\usepackage{amsmath}&#10;\pagestyle{empty}&#10;\begin{document}&#10;&#10;$\beta_0 = 10^{-6}$&#10;&#10;\end{document}"/>
  <p:tag name="IGUANATEXSIZE" val="20"/>
  <p:tag name="IGUANATEXCURSOR" val="82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.7353"/>
  <p:tag name="ORIGINALWIDTH" val=" 105.7368"/>
  <p:tag name="OUTPUTTYPE" val="PNG"/>
  <p:tag name="IGUANATEXVERSION" val="162"/>
  <p:tag name="LATEXADDIN" val="\documentclass{article}&#10;\usepackage{amsmath}&#10;\pagestyle{empty}&#10;\begin{document}&#10;&#10;$\hat{H}$&#10;&#10;&#10;\end{document}"/>
  <p:tag name="IGUANATEXSIZE" val="20"/>
  <p:tag name="IGUANATEXCURSOR" val="82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3.2358"/>
  <p:tag name="ORIGINALWIDTH" val=" 55.49307"/>
  <p:tag name="OUTPUTTYPE" val="PNG"/>
  <p:tag name="IGUANATEXVERSION" val="162"/>
  <p:tag name="LATEXADDIN" val="\documentclass{article}&#10;\usepackage{amsmath}&#10;\usepackage{bbold}&#10;\pagestyle{empty}&#10;\begin{document}&#10;&#10;$\hat{\mathbb{1}}$&#10;&#10;\end{document}"/>
  <p:tag name="IGUANATEXSIZE" val="20"/>
  <p:tag name="IGUANATEXCURSOR" val="116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41.7323"/>
  <p:tag name="ORIGINALWIDTH" val=" 451.4435"/>
  <p:tag name="OUTPUTTYPE" val="PNG"/>
  <p:tag name="IGUANATEXVERSION" val="162"/>
  <p:tag name="LATEXADDIN" val="\documentclass{article}&#10;\usepackage{amsmath}&#10;\usepackage{bbold}&#10;\pagestyle{empty}&#10;\begin{document}&#10;&#10;$\hat{\mathbb{1}} - \beta_0 \hat{H}$&#10;&#10;\end{document}"/>
  <p:tag name="IGUANATEXSIZE" val="20"/>
  <p:tag name="IGUANATEXCURSOR" val="135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06</Words>
  <Application>Microsoft Office PowerPoint</Application>
  <PresentationFormat>Widescreen</PresentationFormat>
  <Paragraphs>27</Paragraphs>
  <Slides>5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1" baseType="lpstr">
      <vt:lpstr>Aptos</vt:lpstr>
      <vt:lpstr>Aptos Display</vt:lpstr>
      <vt:lpstr>Arial</vt:lpstr>
      <vt:lpstr>Bahnschrift SemiCondensed</vt:lpstr>
      <vt:lpstr>Office Theme</vt:lpstr>
      <vt:lpstr>think-cell Slide</vt:lpstr>
      <vt:lpstr>The Thermal Tensor Network Renormalization Group (XTRG)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Matthias Pawlik</dc:creator>
  <cp:lastModifiedBy>Matthias Pawlik</cp:lastModifiedBy>
  <cp:revision>12</cp:revision>
  <dcterms:created xsi:type="dcterms:W3CDTF">2025-06-15T15:29:23Z</dcterms:created>
  <dcterms:modified xsi:type="dcterms:W3CDTF">2025-07-08T21:58:33Z</dcterms:modified>
</cp:coreProperties>
</file>